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1" r:id="rId2"/>
  </p:sldMasterIdLst>
  <p:notesMasterIdLst>
    <p:notesMasterId r:id="rId20"/>
  </p:notesMasterIdLst>
  <p:sldIdLst>
    <p:sldId id="256" r:id="rId3"/>
    <p:sldId id="308" r:id="rId4"/>
    <p:sldId id="304" r:id="rId5"/>
    <p:sldId id="305" r:id="rId6"/>
    <p:sldId id="320" r:id="rId7"/>
    <p:sldId id="298" r:id="rId8"/>
    <p:sldId id="321" r:id="rId9"/>
    <p:sldId id="322" r:id="rId10"/>
    <p:sldId id="318" r:id="rId11"/>
    <p:sldId id="319" r:id="rId12"/>
    <p:sldId id="323" r:id="rId13"/>
    <p:sldId id="324" r:id="rId14"/>
    <p:sldId id="325" r:id="rId15"/>
    <p:sldId id="326" r:id="rId16"/>
    <p:sldId id="317" r:id="rId17"/>
    <p:sldId id="327" r:id="rId18"/>
    <p:sldId id="273" r:id="rId19"/>
  </p:sldIdLst>
  <p:sldSz cx="9906000" cy="6858000" type="A4"/>
  <p:notesSz cx="9906000" cy="6858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4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ACF4677E-8BD2-47ae-8A1F-98590045965D">
      <hp:hncThemeShow xmlns="" xmlns:c="http://schemas.openxmlformats.org/drawingml/2006/chart" xmlns:dgm="http://schemas.openxmlformats.org/drawingml/2006/diagram" xmlns:dsp="http://schemas.microsoft.com/office/drawing/2008/diagram" xmlns:hp="http://schemas.haansoft.com/office/presentation/8.0" themeShowType="1" themeSkinType="1" themeTransitionType="1" useThemeTransition="1" byMouseClick="1" attrType="1" dur="200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74" d="100"/>
          <a:sy n="174" d="100"/>
        </p:scale>
        <p:origin x="840" y="132"/>
      </p:cViewPr>
      <p:guideLst>
        <p:guide orient="horz" pos="2880"/>
        <p:guide pos="214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현수 노" userId="e1d1f78a28b09390" providerId="LiveId" clId="{95EED2C2-6ED7-4BF8-9A7C-B03418535C02}"/>
    <pc:docChg chg="custSel modSld">
      <pc:chgData name="현수 노" userId="e1d1f78a28b09390" providerId="LiveId" clId="{95EED2C2-6ED7-4BF8-9A7C-B03418535C02}" dt="2025-01-05T10:04:32.343" v="21" actId="22"/>
      <pc:docMkLst>
        <pc:docMk/>
      </pc:docMkLst>
      <pc:sldChg chg="modSp mod">
        <pc:chgData name="현수 노" userId="e1d1f78a28b09390" providerId="LiveId" clId="{95EED2C2-6ED7-4BF8-9A7C-B03418535C02}" dt="2025-01-05T10:02:20.036" v="10" actId="20577"/>
        <pc:sldMkLst>
          <pc:docMk/>
          <pc:sldMk cId="0" sldId="256"/>
        </pc:sldMkLst>
        <pc:spChg chg="mod">
          <ac:chgData name="현수 노" userId="e1d1f78a28b09390" providerId="LiveId" clId="{95EED2C2-6ED7-4BF8-9A7C-B03418535C02}" dt="2025-01-05T10:02:20.036" v="10" actId="20577"/>
          <ac:spMkLst>
            <pc:docMk/>
            <pc:sldMk cId="0" sldId="256"/>
            <ac:spMk id="6" creationId="{00000000-0000-0000-0000-000000000000}"/>
          </ac:spMkLst>
        </pc:spChg>
        <pc:spChg chg="mod">
          <ac:chgData name="현수 노" userId="e1d1f78a28b09390" providerId="LiveId" clId="{95EED2C2-6ED7-4BF8-9A7C-B03418535C02}" dt="2025-01-05T10:02:09.729" v="4" actId="20577"/>
          <ac:spMkLst>
            <pc:docMk/>
            <pc:sldMk cId="0" sldId="256"/>
            <ac:spMk id="7" creationId="{19CF257E-0FB2-0795-52BD-B35ABAFFD216}"/>
          </ac:spMkLst>
        </pc:spChg>
      </pc:sldChg>
      <pc:sldChg chg="addSp delSp modSp mod">
        <pc:chgData name="현수 노" userId="e1d1f78a28b09390" providerId="LiveId" clId="{95EED2C2-6ED7-4BF8-9A7C-B03418535C02}" dt="2025-01-05T10:02:44.631" v="13" actId="1076"/>
        <pc:sldMkLst>
          <pc:docMk/>
          <pc:sldMk cId="536664267" sldId="298"/>
        </pc:sldMkLst>
        <pc:picChg chg="add del">
          <ac:chgData name="현수 노" userId="e1d1f78a28b09390" providerId="LiveId" clId="{95EED2C2-6ED7-4BF8-9A7C-B03418535C02}" dt="2025-01-05T10:02:27.820" v="11" actId="478"/>
          <ac:picMkLst>
            <pc:docMk/>
            <pc:sldMk cId="536664267" sldId="298"/>
            <ac:picMk id="5" creationId="{FF4D3310-8494-4F34-8B6F-9BA052D75272}"/>
          </ac:picMkLst>
        </pc:picChg>
        <pc:picChg chg="add mod">
          <ac:chgData name="현수 노" userId="e1d1f78a28b09390" providerId="LiveId" clId="{95EED2C2-6ED7-4BF8-9A7C-B03418535C02}" dt="2025-01-05T10:02:44.631" v="13" actId="1076"/>
          <ac:picMkLst>
            <pc:docMk/>
            <pc:sldMk cId="536664267" sldId="298"/>
            <ac:picMk id="7" creationId="{E784F4E6-25A7-4FA9-D798-74F7A92DB7C5}"/>
          </ac:picMkLst>
        </pc:picChg>
      </pc:sldChg>
      <pc:sldChg chg="addSp delSp mod">
        <pc:chgData name="현수 노" userId="e1d1f78a28b09390" providerId="LiveId" clId="{95EED2C2-6ED7-4BF8-9A7C-B03418535C02}" dt="2025-01-05T10:04:32.343" v="21" actId="22"/>
        <pc:sldMkLst>
          <pc:docMk/>
          <pc:sldMk cId="2327863417" sldId="317"/>
        </pc:sldMkLst>
        <pc:picChg chg="del">
          <ac:chgData name="현수 노" userId="e1d1f78a28b09390" providerId="LiveId" clId="{95EED2C2-6ED7-4BF8-9A7C-B03418535C02}" dt="2025-01-05T10:04:03.789" v="20" actId="478"/>
          <ac:picMkLst>
            <pc:docMk/>
            <pc:sldMk cId="2327863417" sldId="317"/>
            <ac:picMk id="5" creationId="{F46B57BF-6C98-8139-DAD2-D93DA2E5D674}"/>
          </ac:picMkLst>
        </pc:picChg>
        <pc:picChg chg="add">
          <ac:chgData name="현수 노" userId="e1d1f78a28b09390" providerId="LiveId" clId="{95EED2C2-6ED7-4BF8-9A7C-B03418535C02}" dt="2025-01-05T10:04:32.343" v="21" actId="22"/>
          <ac:picMkLst>
            <pc:docMk/>
            <pc:sldMk cId="2327863417" sldId="317"/>
            <ac:picMk id="7" creationId="{02FC2AD5-ABBC-3297-0189-FAF168954EF4}"/>
          </ac:picMkLst>
        </pc:picChg>
      </pc:sldChg>
      <pc:sldChg chg="addSp delSp modSp mod">
        <pc:chgData name="현수 노" userId="e1d1f78a28b09390" providerId="LiveId" clId="{95EED2C2-6ED7-4BF8-9A7C-B03418535C02}" dt="2025-01-05T10:03:47.629" v="17" actId="1076"/>
        <pc:sldMkLst>
          <pc:docMk/>
          <pc:sldMk cId="1326612450" sldId="318"/>
        </pc:sldMkLst>
        <pc:picChg chg="del">
          <ac:chgData name="현수 노" userId="e1d1f78a28b09390" providerId="LiveId" clId="{95EED2C2-6ED7-4BF8-9A7C-B03418535C02}" dt="2025-01-05T10:03:25.488" v="14" actId="478"/>
          <ac:picMkLst>
            <pc:docMk/>
            <pc:sldMk cId="1326612450" sldId="318"/>
            <ac:picMk id="5" creationId="{7A549541-7710-3FF5-8F95-C9655B6AFC7E}"/>
          </ac:picMkLst>
        </pc:picChg>
        <pc:picChg chg="add mod">
          <ac:chgData name="현수 노" userId="e1d1f78a28b09390" providerId="LiveId" clId="{95EED2C2-6ED7-4BF8-9A7C-B03418535C02}" dt="2025-01-05T10:03:47.629" v="17" actId="1076"/>
          <ac:picMkLst>
            <pc:docMk/>
            <pc:sldMk cId="1326612450" sldId="318"/>
            <ac:picMk id="7" creationId="{3B7817CB-F3C3-6BFD-14B3-F2FB04DFF290}"/>
          </ac:picMkLst>
        </pc:picChg>
      </pc:sldChg>
      <pc:sldChg chg="addSp delSp modSp mod">
        <pc:chgData name="현수 노" userId="e1d1f78a28b09390" providerId="LiveId" clId="{95EED2C2-6ED7-4BF8-9A7C-B03418535C02}" dt="2025-01-05T10:03:59.683" v="19" actId="1076"/>
        <pc:sldMkLst>
          <pc:docMk/>
          <pc:sldMk cId="2193143982" sldId="319"/>
        </pc:sldMkLst>
        <pc:picChg chg="add mod">
          <ac:chgData name="현수 노" userId="e1d1f78a28b09390" providerId="LiveId" clId="{95EED2C2-6ED7-4BF8-9A7C-B03418535C02}" dt="2025-01-05T10:03:59.683" v="19" actId="1076"/>
          <ac:picMkLst>
            <pc:docMk/>
            <pc:sldMk cId="2193143982" sldId="319"/>
            <ac:picMk id="5" creationId="{A1F68AE1-B69F-C865-EDAC-7D1C72AB9966}"/>
          </ac:picMkLst>
        </pc:picChg>
        <pc:picChg chg="del">
          <ac:chgData name="현수 노" userId="e1d1f78a28b09390" providerId="LiveId" clId="{95EED2C2-6ED7-4BF8-9A7C-B03418535C02}" dt="2025-01-05T10:03:29.265" v="15" actId="478"/>
          <ac:picMkLst>
            <pc:docMk/>
            <pc:sldMk cId="2193143982" sldId="319"/>
            <ac:picMk id="8" creationId="{21679123-8737-8898-1773-E2DE8EBB0A57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926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5611813" y="0"/>
            <a:ext cx="42926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F1B471-1252-4089-A0E7-6311B74D4308}" type="datetimeFigureOut">
              <a:rPr lang="ko-KR" altLang="en-US" smtClean="0"/>
              <a:t>2025-01-12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281363" y="857250"/>
            <a:ext cx="3343275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990600" y="3300413"/>
            <a:ext cx="79248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하려면 클릭</a:t>
            </a:r>
          </a:p>
          <a:p>
            <a:pPr lvl="1"/>
            <a:r>
              <a:rPr lang="ko-KR" altLang="en-US"/>
              <a:t>두 번째 수준</a:t>
            </a:r>
          </a:p>
          <a:p>
            <a:pPr lvl="2"/>
            <a:r>
              <a:rPr lang="ko-KR" altLang="en-US"/>
              <a:t>세 번째 수준</a:t>
            </a:r>
          </a:p>
          <a:p>
            <a:pPr lvl="3"/>
            <a:r>
              <a:rPr lang="ko-KR" altLang="en-US"/>
              <a:t>네 번째 수준</a:t>
            </a:r>
          </a:p>
          <a:p>
            <a:pPr lvl="4"/>
            <a:r>
              <a:rPr lang="ko-KR" altLang="en-US"/>
              <a:t>다섯 번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42926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5611813" y="6513513"/>
            <a:ext cx="42926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8B03DF-B057-4D6D-8663-19BCF8FB8CF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536990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322069" y="52577"/>
            <a:ext cx="7261860" cy="3308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485900" y="3840480"/>
            <a:ext cx="69342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12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chemeClr val="bg1"/>
                </a:solidFill>
                <a:latin typeface="맑은 고딕"/>
                <a:cs typeface="맑은 고딕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맑은 고딕"/>
                <a:cs typeface="맑은 고딕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12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chemeClr val="bg1"/>
                </a:solidFill>
                <a:latin typeface="맑은 고딕"/>
                <a:cs typeface="맑은 고딕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5300" y="1577340"/>
            <a:ext cx="430911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101590" y="1577340"/>
            <a:ext cx="430911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12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chemeClr val="bg1"/>
                </a:solidFill>
                <a:latin typeface="맑은 고딕"/>
                <a:cs typeface="맑은 고딕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12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34211" y="0"/>
            <a:ext cx="8967216" cy="6857997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871727" y="3108960"/>
            <a:ext cx="1013460" cy="1062227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18971" y="3133344"/>
            <a:ext cx="923543" cy="972311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918971" y="3133344"/>
            <a:ext cx="923925" cy="972185"/>
          </a:xfrm>
          <a:custGeom>
            <a:avLst/>
            <a:gdLst/>
            <a:ahLst/>
            <a:cxnLst/>
            <a:rect l="l" t="t" r="r" b="b"/>
            <a:pathLst>
              <a:path w="923925" h="972185">
                <a:moveTo>
                  <a:pt x="0" y="61340"/>
                </a:moveTo>
                <a:lnTo>
                  <a:pt x="4825" y="37464"/>
                </a:lnTo>
                <a:lnTo>
                  <a:pt x="17970" y="17906"/>
                </a:lnTo>
                <a:lnTo>
                  <a:pt x="37490" y="4825"/>
                </a:lnTo>
                <a:lnTo>
                  <a:pt x="61379" y="0"/>
                </a:lnTo>
                <a:lnTo>
                  <a:pt x="862076" y="0"/>
                </a:lnTo>
                <a:lnTo>
                  <a:pt x="885952" y="4825"/>
                </a:lnTo>
                <a:lnTo>
                  <a:pt x="905510" y="17906"/>
                </a:lnTo>
                <a:lnTo>
                  <a:pt x="918591" y="37464"/>
                </a:lnTo>
                <a:lnTo>
                  <a:pt x="923416" y="61340"/>
                </a:lnTo>
                <a:lnTo>
                  <a:pt x="923416" y="910589"/>
                </a:lnTo>
                <a:lnTo>
                  <a:pt x="918591" y="934465"/>
                </a:lnTo>
                <a:lnTo>
                  <a:pt x="905510" y="954023"/>
                </a:lnTo>
                <a:lnTo>
                  <a:pt x="885952" y="967104"/>
                </a:lnTo>
                <a:lnTo>
                  <a:pt x="862076" y="971930"/>
                </a:lnTo>
                <a:lnTo>
                  <a:pt x="61379" y="971930"/>
                </a:lnTo>
                <a:lnTo>
                  <a:pt x="37490" y="967104"/>
                </a:lnTo>
                <a:lnTo>
                  <a:pt x="17970" y="954023"/>
                </a:lnTo>
                <a:lnTo>
                  <a:pt x="4825" y="934465"/>
                </a:lnTo>
                <a:lnTo>
                  <a:pt x="0" y="910589"/>
                </a:lnTo>
                <a:lnTo>
                  <a:pt x="0" y="61340"/>
                </a:lnTo>
                <a:close/>
              </a:path>
            </a:pathLst>
          </a:custGeom>
          <a:ln w="9143">
            <a:solidFill>
              <a:srgbClr val="52ADB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12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ommaire"/>
          <p:cNvSpPr>
            <a:spLocks noGrp="1"/>
          </p:cNvSpPr>
          <p:nvPr>
            <p:ph type="title" hasCustomPrompt="1"/>
          </p:nvPr>
        </p:nvSpPr>
        <p:spPr>
          <a:xfrm>
            <a:off x="296608" y="97024"/>
            <a:ext cx="9312560" cy="44964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2409" noProof="0" dirty="0">
                <a:solidFill>
                  <a:srgbClr val="00008F"/>
                </a:solidFill>
                <a:latin typeface="Source Sans Pro" panose="020B0503030403020204" pitchFamily="34" charset="0"/>
              </a:defRPr>
            </a:lvl1pPr>
          </a:lstStyle>
          <a:p>
            <a:pPr lvl="0" algn="l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64013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6443471"/>
            <a:ext cx="9905999" cy="414527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0" y="0"/>
            <a:ext cx="9905999" cy="829055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1219962" y="762"/>
            <a:ext cx="8197850" cy="457200"/>
          </a:xfrm>
          <a:custGeom>
            <a:avLst/>
            <a:gdLst/>
            <a:ahLst/>
            <a:cxnLst/>
            <a:rect l="l" t="t" r="r" b="b"/>
            <a:pathLst>
              <a:path w="8197850" h="457200">
                <a:moveTo>
                  <a:pt x="8121396" y="0"/>
                </a:moveTo>
                <a:lnTo>
                  <a:pt x="76200" y="0"/>
                </a:lnTo>
                <a:lnTo>
                  <a:pt x="46537" y="5994"/>
                </a:lnTo>
                <a:lnTo>
                  <a:pt x="22317" y="22336"/>
                </a:lnTo>
                <a:lnTo>
                  <a:pt x="5987" y="46559"/>
                </a:lnTo>
                <a:lnTo>
                  <a:pt x="0" y="76200"/>
                </a:lnTo>
                <a:lnTo>
                  <a:pt x="0" y="381000"/>
                </a:lnTo>
                <a:lnTo>
                  <a:pt x="5987" y="410640"/>
                </a:lnTo>
                <a:lnTo>
                  <a:pt x="22317" y="434863"/>
                </a:lnTo>
                <a:lnTo>
                  <a:pt x="46537" y="451205"/>
                </a:lnTo>
                <a:lnTo>
                  <a:pt x="76200" y="457200"/>
                </a:lnTo>
                <a:lnTo>
                  <a:pt x="8121396" y="457200"/>
                </a:lnTo>
                <a:lnTo>
                  <a:pt x="8151036" y="451205"/>
                </a:lnTo>
                <a:lnTo>
                  <a:pt x="8175259" y="434863"/>
                </a:lnTo>
                <a:lnTo>
                  <a:pt x="8191601" y="410640"/>
                </a:lnTo>
                <a:lnTo>
                  <a:pt x="8197596" y="381000"/>
                </a:lnTo>
                <a:lnTo>
                  <a:pt x="8197596" y="76200"/>
                </a:lnTo>
                <a:lnTo>
                  <a:pt x="8191601" y="46559"/>
                </a:lnTo>
                <a:lnTo>
                  <a:pt x="8175259" y="22336"/>
                </a:lnTo>
                <a:lnTo>
                  <a:pt x="8151036" y="5994"/>
                </a:lnTo>
                <a:lnTo>
                  <a:pt x="8121396" y="0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1219962" y="762"/>
            <a:ext cx="8197850" cy="457200"/>
          </a:xfrm>
          <a:custGeom>
            <a:avLst/>
            <a:gdLst/>
            <a:ahLst/>
            <a:cxnLst/>
            <a:rect l="l" t="t" r="r" b="b"/>
            <a:pathLst>
              <a:path w="8197850" h="457200">
                <a:moveTo>
                  <a:pt x="0" y="76200"/>
                </a:moveTo>
                <a:lnTo>
                  <a:pt x="5987" y="46559"/>
                </a:lnTo>
                <a:lnTo>
                  <a:pt x="22317" y="22336"/>
                </a:lnTo>
                <a:lnTo>
                  <a:pt x="46537" y="5994"/>
                </a:lnTo>
                <a:lnTo>
                  <a:pt x="76200" y="0"/>
                </a:lnTo>
                <a:lnTo>
                  <a:pt x="8121396" y="0"/>
                </a:lnTo>
                <a:lnTo>
                  <a:pt x="8151036" y="5994"/>
                </a:lnTo>
                <a:lnTo>
                  <a:pt x="8175259" y="22336"/>
                </a:lnTo>
                <a:lnTo>
                  <a:pt x="8191601" y="46559"/>
                </a:lnTo>
                <a:lnTo>
                  <a:pt x="8197596" y="76200"/>
                </a:lnTo>
                <a:lnTo>
                  <a:pt x="8197596" y="381000"/>
                </a:lnTo>
                <a:lnTo>
                  <a:pt x="8191601" y="410640"/>
                </a:lnTo>
                <a:lnTo>
                  <a:pt x="8175259" y="434863"/>
                </a:lnTo>
                <a:lnTo>
                  <a:pt x="8151036" y="451205"/>
                </a:lnTo>
                <a:lnTo>
                  <a:pt x="8121396" y="457200"/>
                </a:lnTo>
                <a:lnTo>
                  <a:pt x="76200" y="457200"/>
                </a:lnTo>
                <a:lnTo>
                  <a:pt x="46537" y="451205"/>
                </a:lnTo>
                <a:lnTo>
                  <a:pt x="22317" y="434863"/>
                </a:lnTo>
                <a:lnTo>
                  <a:pt x="5987" y="410640"/>
                </a:lnTo>
                <a:lnTo>
                  <a:pt x="0" y="381000"/>
                </a:lnTo>
                <a:lnTo>
                  <a:pt x="0" y="7620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22069" y="52577"/>
            <a:ext cx="7261860" cy="3308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chemeClr val="bg1"/>
                </a:solidFill>
                <a:latin typeface="맑은 고딕"/>
                <a:cs typeface="맑은 고딕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76783" y="1735277"/>
            <a:ext cx="8249284" cy="33064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맑은 고딕"/>
                <a:cs typeface="맑은 고딕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368040" y="6377940"/>
            <a:ext cx="31699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95300" y="6377940"/>
            <a:ext cx="22783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12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132320" y="6377940"/>
            <a:ext cx="22783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B64CDB25-411E-8D01-B021-2A3741E701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95754042"/>
              </p:ext>
            </p:extLst>
          </p:nvPr>
        </p:nvGraphicFramePr>
        <p:xfrm>
          <a:off x="1721" y="2118"/>
          <a:ext cx="1329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B64CDB25-411E-8D01-B021-2A3741E701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329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4"/>
          <p:cNvSpPr txBox="1">
            <a:spLocks/>
          </p:cNvSpPr>
          <p:nvPr userDrawn="1"/>
        </p:nvSpPr>
        <p:spPr>
          <a:xfrm>
            <a:off x="9150" y="6483880"/>
            <a:ext cx="670147" cy="332848"/>
          </a:xfrm>
          <a:prstGeom prst="rect">
            <a:avLst/>
          </a:prstGeom>
        </p:spPr>
        <p:txBody>
          <a:bodyPr vert="horz" lIns="88430" tIns="44215" rIns="88430" bIns="44215" rtlCol="0" anchor="ctr"/>
          <a:lstStyle>
            <a:lvl1pPr>
              <a:defRPr>
                <a:latin typeface="+mj-lt"/>
              </a:defRPr>
            </a:lvl1pPr>
          </a:lstStyle>
          <a:p>
            <a:pPr algn="ctr" defTabSz="8842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438FEFB8-6B6E-4DC1-A5E4-A1258711B442}" type="slidenum">
              <a:rPr lang="en-US" sz="867" smtClean="0">
                <a:solidFill>
                  <a:prstClr val="black"/>
                </a:solidFill>
                <a:latin typeface="Source Sans Pro" pitchFamily="34" charset="0"/>
                <a:cs typeface="Arial" pitchFamily="34" charset="0"/>
              </a:rPr>
              <a:pPr algn="ctr" defTabSz="8842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67" dirty="0">
              <a:solidFill>
                <a:prstClr val="black"/>
              </a:solidFill>
              <a:latin typeface="Source Sans Pro" pitchFamily="34" charset="0"/>
              <a:cs typeface="Arial" pitchFamily="34" charset="0"/>
            </a:endParaRPr>
          </a:p>
        </p:txBody>
      </p:sp>
      <p:sp>
        <p:nvSpPr>
          <p:cNvPr id="3" name="Espace réservé de la date 1"/>
          <p:cNvSpPr>
            <a:spLocks noGrp="1"/>
          </p:cNvSpPr>
          <p:nvPr>
            <p:ph type="dt" sz="half" idx="2"/>
          </p:nvPr>
        </p:nvSpPr>
        <p:spPr>
          <a:xfrm>
            <a:off x="541941" y="6541947"/>
            <a:ext cx="2400141" cy="233363"/>
          </a:xfrm>
          <a:prstGeom prst="rect">
            <a:avLst/>
          </a:prstGeom>
        </p:spPr>
        <p:txBody>
          <a:bodyPr vert="horz" lIns="81628" tIns="40814" rIns="81628" bIns="40814" rtlCol="0" anchor="ctr"/>
          <a:lstStyle>
            <a:lvl1pPr algn="l">
              <a:defRPr sz="867">
                <a:solidFill>
                  <a:schemeClr val="tx1"/>
                </a:solidFill>
                <a:latin typeface="Source Sans Pro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Title of the presentation l Dat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Espace réservé du pied de page 2"/>
          <p:cNvSpPr txBox="1">
            <a:spLocks/>
          </p:cNvSpPr>
          <p:nvPr userDrawn="1"/>
        </p:nvSpPr>
        <p:spPr>
          <a:xfrm>
            <a:off x="3604203" y="6541947"/>
            <a:ext cx="2681155" cy="233363"/>
          </a:xfrm>
          <a:prstGeom prst="rect">
            <a:avLst/>
          </a:prstGeom>
        </p:spPr>
        <p:txBody>
          <a:bodyPr vert="horz" lIns="88430" tIns="44215" rIns="88430" bIns="44215" rtlCol="0" anchor="ctr"/>
          <a:lstStyle>
            <a:defPPr>
              <a:defRPr lang="fr-FR"/>
            </a:defPPr>
            <a:lvl1pPr algn="ctr" defTabSz="815680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FF0000"/>
                </a:solidFill>
                <a:latin typeface="Source Sans Pro" pitchFamily="34" charset="0"/>
                <a:ea typeface="+mn-ea"/>
                <a:cs typeface="Arial" charset="0"/>
              </a:defRPr>
            </a:lvl1pPr>
            <a:lvl2pPr marL="406911" indent="128205" algn="l" defTabSz="815680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815680" indent="254553" algn="l" defTabSz="815680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222590" indent="382756" algn="l" defTabSz="815680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631359" indent="509103" algn="l" defTabSz="815680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675577" algn="l" defTabSz="107023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3210692" algn="l" defTabSz="107023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745806" algn="l" defTabSz="107023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4280922" algn="l" defTabSz="107023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r>
              <a:rPr lang="en-US" sz="867" dirty="0"/>
              <a:t>CONFIDENTIALITY LEVEL</a:t>
            </a:r>
          </a:p>
        </p:txBody>
      </p:sp>
    </p:spTree>
    <p:extLst>
      <p:ext uri="{BB962C8B-B14F-4D97-AF65-F5344CB8AC3E}">
        <p14:creationId xmlns:p14="http://schemas.microsoft.com/office/powerpoint/2010/main" val="3295572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</p:sldLayoutIdLst>
  <p:hf sldNum="0" hdr="0"/>
  <p:txStyles>
    <p:titleStyle>
      <a:lvl1pPr algn="ctr" defTabSz="883626" rtl="0" eaLnBrk="0" fontAlgn="base" hangingPunct="0">
        <a:spcBef>
          <a:spcPct val="0"/>
        </a:spcBef>
        <a:spcAft>
          <a:spcPct val="0"/>
        </a:spcAft>
        <a:defRPr sz="4333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883626" rtl="0" eaLnBrk="0" fontAlgn="base" hangingPunct="0">
        <a:spcBef>
          <a:spcPct val="0"/>
        </a:spcBef>
        <a:spcAft>
          <a:spcPct val="0"/>
        </a:spcAft>
        <a:defRPr sz="4333">
          <a:solidFill>
            <a:schemeClr val="tx1"/>
          </a:solidFill>
          <a:latin typeface="Source Sans Pro" pitchFamily="34" charset="0"/>
        </a:defRPr>
      </a:lvl2pPr>
      <a:lvl3pPr algn="ctr" defTabSz="883626" rtl="0" eaLnBrk="0" fontAlgn="base" hangingPunct="0">
        <a:spcBef>
          <a:spcPct val="0"/>
        </a:spcBef>
        <a:spcAft>
          <a:spcPct val="0"/>
        </a:spcAft>
        <a:defRPr sz="4333">
          <a:solidFill>
            <a:schemeClr val="tx1"/>
          </a:solidFill>
          <a:latin typeface="Source Sans Pro" pitchFamily="34" charset="0"/>
        </a:defRPr>
      </a:lvl3pPr>
      <a:lvl4pPr algn="ctr" defTabSz="883626" rtl="0" eaLnBrk="0" fontAlgn="base" hangingPunct="0">
        <a:spcBef>
          <a:spcPct val="0"/>
        </a:spcBef>
        <a:spcAft>
          <a:spcPct val="0"/>
        </a:spcAft>
        <a:defRPr sz="4333">
          <a:solidFill>
            <a:schemeClr val="tx1"/>
          </a:solidFill>
          <a:latin typeface="Source Sans Pro" pitchFamily="34" charset="0"/>
        </a:defRPr>
      </a:lvl4pPr>
      <a:lvl5pPr algn="ctr" defTabSz="883626" rtl="0" eaLnBrk="0" fontAlgn="base" hangingPunct="0">
        <a:spcBef>
          <a:spcPct val="0"/>
        </a:spcBef>
        <a:spcAft>
          <a:spcPct val="0"/>
        </a:spcAft>
        <a:defRPr sz="4333">
          <a:solidFill>
            <a:schemeClr val="tx1"/>
          </a:solidFill>
          <a:latin typeface="Source Sans Pro" pitchFamily="34" charset="0"/>
        </a:defRPr>
      </a:lvl5pPr>
      <a:lvl6pPr marL="579690" algn="ctr" defTabSz="883626" rtl="0" fontAlgn="base">
        <a:spcBef>
          <a:spcPct val="0"/>
        </a:spcBef>
        <a:spcAft>
          <a:spcPct val="0"/>
        </a:spcAft>
        <a:defRPr sz="4333">
          <a:solidFill>
            <a:schemeClr val="tx1"/>
          </a:solidFill>
          <a:latin typeface="Calibri" pitchFamily="34" charset="0"/>
        </a:defRPr>
      </a:lvl6pPr>
      <a:lvl7pPr marL="1159380" algn="ctr" defTabSz="883626" rtl="0" fontAlgn="base">
        <a:spcBef>
          <a:spcPct val="0"/>
        </a:spcBef>
        <a:spcAft>
          <a:spcPct val="0"/>
        </a:spcAft>
        <a:defRPr sz="4333">
          <a:solidFill>
            <a:schemeClr val="tx1"/>
          </a:solidFill>
          <a:latin typeface="Calibri" pitchFamily="34" charset="0"/>
        </a:defRPr>
      </a:lvl7pPr>
      <a:lvl8pPr marL="1739071" algn="ctr" defTabSz="883626" rtl="0" fontAlgn="base">
        <a:spcBef>
          <a:spcPct val="0"/>
        </a:spcBef>
        <a:spcAft>
          <a:spcPct val="0"/>
        </a:spcAft>
        <a:defRPr sz="4333">
          <a:solidFill>
            <a:schemeClr val="tx1"/>
          </a:solidFill>
          <a:latin typeface="Calibri" pitchFamily="34" charset="0"/>
        </a:defRPr>
      </a:lvl8pPr>
      <a:lvl9pPr marL="2318762" algn="ctr" defTabSz="883626" rtl="0" fontAlgn="base">
        <a:spcBef>
          <a:spcPct val="0"/>
        </a:spcBef>
        <a:spcAft>
          <a:spcPct val="0"/>
        </a:spcAft>
        <a:defRPr sz="4333">
          <a:solidFill>
            <a:schemeClr val="tx1"/>
          </a:solidFill>
          <a:latin typeface="Calibri" pitchFamily="34" charset="0"/>
        </a:defRPr>
      </a:lvl9pPr>
    </p:titleStyle>
    <p:bodyStyle>
      <a:lvl1pPr marL="330102" indent="-330102" algn="l" defTabSz="883626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033" kern="1200">
          <a:solidFill>
            <a:schemeClr val="tx1"/>
          </a:solidFill>
          <a:latin typeface="+mn-lt"/>
          <a:ea typeface="+mn-ea"/>
          <a:cs typeface="+mn-cs"/>
        </a:defRPr>
      </a:lvl1pPr>
      <a:lvl2pPr marL="716562" indent="-275757" algn="l" defTabSz="883626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708" kern="1200">
          <a:solidFill>
            <a:schemeClr val="tx1"/>
          </a:solidFill>
          <a:latin typeface="+mn-lt"/>
          <a:ea typeface="+mn-ea"/>
          <a:cs typeface="+mn-cs"/>
        </a:defRPr>
      </a:lvl2pPr>
      <a:lvl3pPr marL="1105034" indent="-219397" algn="l" defTabSz="883626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545841" indent="-219397" algn="l" defTabSz="883626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8660" indent="-219397" algn="l" defTabSz="883626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31396" indent="-221035" algn="l" defTabSz="884144" rtl="0" eaLnBrk="1" latinLnBrk="0" hangingPunct="1">
        <a:spcBef>
          <a:spcPct val="20000"/>
        </a:spcBef>
        <a:buFont typeface="Arial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873467" indent="-221035" algn="l" defTabSz="884144" rtl="0" eaLnBrk="1" latinLnBrk="0" hangingPunct="1">
        <a:spcBef>
          <a:spcPct val="20000"/>
        </a:spcBef>
        <a:buFont typeface="Arial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315539" indent="-221035" algn="l" defTabSz="884144" rtl="0" eaLnBrk="1" latinLnBrk="0" hangingPunct="1">
        <a:spcBef>
          <a:spcPct val="20000"/>
        </a:spcBef>
        <a:buFont typeface="Arial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757610" indent="-221035" algn="l" defTabSz="884144" rtl="0" eaLnBrk="1" latinLnBrk="0" hangingPunct="1">
        <a:spcBef>
          <a:spcPct val="20000"/>
        </a:spcBef>
        <a:buFont typeface="Arial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8414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42072" algn="l" defTabSz="88414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884144" algn="l" defTabSz="88414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26216" algn="l" defTabSz="88414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768287" algn="l" defTabSz="88414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10361" algn="l" defTabSz="88414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652431" algn="l" defTabSz="88414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094503" algn="l" defTabSz="88414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536575" algn="l" defTabSz="88414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4573" y="3"/>
            <a:ext cx="9901427" cy="6857997"/>
            <a:chOff x="4573" y="3"/>
            <a:chExt cx="9901427" cy="6857997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573" y="3"/>
              <a:ext cx="9901427" cy="6857997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60832" y="6121908"/>
              <a:ext cx="906780" cy="320039"/>
            </a:xfrm>
            <a:prstGeom prst="rect">
              <a:avLst/>
            </a:prstGeom>
          </p:spPr>
        </p:pic>
      </p:grpSp>
      <p:sp>
        <p:nvSpPr>
          <p:cNvPr id="5" name="object 5"/>
          <p:cNvSpPr txBox="1"/>
          <p:nvPr/>
        </p:nvSpPr>
        <p:spPr>
          <a:xfrm>
            <a:off x="818184" y="2167204"/>
            <a:ext cx="4256405" cy="13684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4400" b="1">
                <a:solidFill>
                  <a:srgbClr val="034983"/>
                </a:solidFill>
                <a:latin typeface="맑은 고딕"/>
                <a:cs typeface="맑은 고딕"/>
              </a:rPr>
              <a:t>R&amp;D</a:t>
            </a:r>
            <a:r>
              <a:rPr sz="4400" b="1" spc="-280">
                <a:solidFill>
                  <a:srgbClr val="034983"/>
                </a:solidFill>
                <a:latin typeface="맑은 고딕"/>
                <a:cs typeface="맑은 고딕"/>
              </a:rPr>
              <a:t> </a:t>
            </a:r>
            <a:r>
              <a:rPr sz="4400" b="1">
                <a:solidFill>
                  <a:srgbClr val="034983"/>
                </a:solidFill>
                <a:latin typeface="맑은 고딕"/>
                <a:cs typeface="맑은 고딕"/>
              </a:rPr>
              <a:t>전략사업부 </a:t>
            </a:r>
            <a:r>
              <a:rPr sz="4400" b="1" spc="-1530">
                <a:solidFill>
                  <a:srgbClr val="034983"/>
                </a:solidFill>
                <a:latin typeface="맑은 고딕"/>
                <a:cs typeface="맑은 고딕"/>
              </a:rPr>
              <a:t> </a:t>
            </a:r>
            <a:r>
              <a:rPr sz="4400" b="1">
                <a:solidFill>
                  <a:srgbClr val="034983"/>
                </a:solidFill>
                <a:latin typeface="맑은 고딕"/>
                <a:cs typeface="맑은 고딕"/>
              </a:rPr>
              <a:t>주간보고서</a:t>
            </a:r>
            <a:endParaRPr sz="4400">
              <a:latin typeface="맑은 고딕"/>
              <a:cs typeface="맑은 고딕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981565" y="4255534"/>
            <a:ext cx="2371235" cy="382156"/>
          </a:xfrm>
          <a:prstGeom prst="rect">
            <a:avLst/>
          </a:prstGeom>
        </p:spPr>
        <p:txBody>
          <a:bodyPr vert="horz" wrap="square" lIns="0" tIns="12700" rIns="0" bIns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defRPr/>
            </a:pPr>
            <a:r>
              <a:rPr sz="2400" b="1">
                <a:solidFill>
                  <a:srgbClr val="84390C"/>
                </a:solidFill>
                <a:latin typeface="맑은 고딕"/>
                <a:ea typeface="+mj-ea"/>
                <a:cs typeface="맑은 고딕"/>
              </a:rPr>
              <a:t>202</a:t>
            </a:r>
            <a:r>
              <a:rPr lang="en-US" sz="2400" b="1">
                <a:solidFill>
                  <a:srgbClr val="84390C"/>
                </a:solidFill>
                <a:latin typeface="맑은 고딕"/>
                <a:ea typeface="+mj-ea"/>
                <a:cs typeface="맑은 고딕"/>
              </a:rPr>
              <a:t>5</a:t>
            </a:r>
            <a:r>
              <a:rPr sz="2400" b="1" spc="-20">
                <a:solidFill>
                  <a:srgbClr val="84390C"/>
                </a:solidFill>
                <a:latin typeface="맑은 고딕"/>
                <a:ea typeface="+mj-ea"/>
                <a:cs typeface="맑은 고딕"/>
              </a:rPr>
              <a:t>.</a:t>
            </a:r>
            <a:r>
              <a:rPr lang="en-US" sz="2400" b="1" spc="-20">
                <a:solidFill>
                  <a:srgbClr val="84390C"/>
                </a:solidFill>
                <a:latin typeface="맑은 고딕"/>
                <a:ea typeface="+mj-ea"/>
                <a:cs typeface="맑은 고딕"/>
              </a:rPr>
              <a:t>1</a:t>
            </a:r>
            <a:r>
              <a:rPr sz="2400" b="1" spc="-20">
                <a:solidFill>
                  <a:srgbClr val="84390C"/>
                </a:solidFill>
                <a:latin typeface="맑은 고딕"/>
                <a:ea typeface="+mj-ea"/>
                <a:cs typeface="맑은 고딕"/>
              </a:rPr>
              <a:t>.</a:t>
            </a:r>
            <a:r>
              <a:rPr lang="en-US" sz="2400" b="1" spc="-20">
                <a:solidFill>
                  <a:srgbClr val="84390C"/>
                </a:solidFill>
                <a:latin typeface="맑은 고딕"/>
                <a:ea typeface="+mj-ea"/>
                <a:cs typeface="맑은 고딕"/>
              </a:rPr>
              <a:t>13</a:t>
            </a:r>
            <a:r>
              <a:rPr lang="en-US" sz="2400" b="1" spc="-233">
                <a:solidFill>
                  <a:srgbClr val="84390C"/>
                </a:solidFill>
                <a:latin typeface="맑은 고딕"/>
                <a:ea typeface="+mj-ea"/>
                <a:cs typeface="맑은 고딕"/>
              </a:rPr>
              <a:t> </a:t>
            </a:r>
            <a:r>
              <a:rPr sz="2400" b="1" spc="5">
                <a:solidFill>
                  <a:srgbClr val="84390C"/>
                </a:solidFill>
                <a:latin typeface="맑은 고딕"/>
                <a:ea typeface="+mj-ea"/>
                <a:cs typeface="맑은 고딕"/>
              </a:rPr>
              <a:t>(</a:t>
            </a:r>
            <a:r>
              <a:rPr lang="ko-KR" altLang="en-US" sz="2400" b="1" spc="5">
                <a:solidFill>
                  <a:srgbClr val="84390C"/>
                </a:solidFill>
                <a:latin typeface="맑은 고딕"/>
                <a:ea typeface="+mj-ea"/>
                <a:cs typeface="맑은 고딕"/>
              </a:rPr>
              <a:t>월</a:t>
            </a:r>
            <a:r>
              <a:rPr sz="2400" b="1">
                <a:solidFill>
                  <a:srgbClr val="84390C"/>
                </a:solidFill>
                <a:latin typeface="맑은 고딕"/>
                <a:ea typeface="+mj-ea"/>
                <a:cs typeface="맑은 고딕"/>
              </a:rPr>
              <a:t>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CF257E-0FB2-0795-52BD-B35ABAFFD216}"/>
              </a:ext>
            </a:extLst>
          </p:cNvPr>
          <p:cNvSpPr txBox="1"/>
          <p:nvPr/>
        </p:nvSpPr>
        <p:spPr>
          <a:xfrm>
            <a:off x="914400" y="3733800"/>
            <a:ext cx="22950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2400"/>
              <a:t>1</a:t>
            </a:r>
            <a:r>
              <a:rPr lang="ko-KR" altLang="en-US" sz="2400"/>
              <a:t>월 </a:t>
            </a:r>
            <a:r>
              <a:rPr lang="en-US" altLang="ko-KR" sz="2400"/>
              <a:t>3</a:t>
            </a:r>
            <a:r>
              <a:rPr lang="ko-KR" altLang="en-US" sz="2400"/>
              <a:t>주차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/>
    </mc:Choice>
    <mc:Fallback xmlns="" xmlns:c="http://schemas.openxmlformats.org/drawingml/2006/chart" xmlns:dgm="http://schemas.openxmlformats.org/drawingml/2006/diagram" xmlns:dsp="http://schemas.microsoft.com/office/drawing/2008/diagram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ECF00B-2DAA-5301-5ABF-A02F6CDD5B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F5D0DD82-46BE-3497-92F3-515EE585F16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22068" y="52577"/>
            <a:ext cx="6374131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/>
              <a:t>R&amp;D</a:t>
            </a:r>
            <a:r>
              <a:rPr lang="ko-KR" altLang="en-US"/>
              <a:t>전략사업부 개별 작업보고 </a:t>
            </a:r>
            <a:endParaRPr/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0E514811-C997-628B-517F-8FCD1BDE3330}"/>
              </a:ext>
            </a:extLst>
          </p:cNvPr>
          <p:cNvSpPr txBox="1"/>
          <p:nvPr/>
        </p:nvSpPr>
        <p:spPr>
          <a:xfrm>
            <a:off x="625246" y="69342"/>
            <a:ext cx="28448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>
                <a:solidFill>
                  <a:srgbClr val="FFFFFF"/>
                </a:solidFill>
                <a:latin typeface="Calibri"/>
                <a:cs typeface="Calibri"/>
              </a:rPr>
              <a:t>0</a:t>
            </a:r>
            <a:r>
              <a:rPr lang="en-US" sz="200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710AFD-D670-6409-0F04-CFE46CADE6C9}"/>
              </a:ext>
            </a:extLst>
          </p:cNvPr>
          <p:cNvSpPr txBox="1"/>
          <p:nvPr/>
        </p:nvSpPr>
        <p:spPr>
          <a:xfrm>
            <a:off x="533400" y="838200"/>
            <a:ext cx="3429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디자인 </a:t>
            </a:r>
            <a:r>
              <a:rPr lang="en-US" altLang="ko-KR"/>
              <a:t>– </a:t>
            </a:r>
            <a:r>
              <a:rPr lang="ko-KR" altLang="en-US"/>
              <a:t>이민지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2B2B395B-B510-84EE-1900-20FAB84A1B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246" y="1295399"/>
            <a:ext cx="7299554" cy="4914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143982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F1CCED-C8A8-6DC2-CE2F-72637C74B1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62C7AA22-E428-472F-2175-2E757A1FBDD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22068" y="52577"/>
            <a:ext cx="6374131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/>
              <a:t>R&amp;D</a:t>
            </a:r>
            <a:r>
              <a:rPr lang="ko-KR" altLang="en-US"/>
              <a:t>전략사업부 개별 작업보고 </a:t>
            </a:r>
            <a:endParaRPr/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F941EB08-06F7-91A6-EACA-151C1E4CD3CA}"/>
              </a:ext>
            </a:extLst>
          </p:cNvPr>
          <p:cNvSpPr txBox="1"/>
          <p:nvPr/>
        </p:nvSpPr>
        <p:spPr>
          <a:xfrm>
            <a:off x="625246" y="69342"/>
            <a:ext cx="28448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>
                <a:solidFill>
                  <a:srgbClr val="FFFFFF"/>
                </a:solidFill>
                <a:latin typeface="Calibri"/>
                <a:cs typeface="Calibri"/>
              </a:rPr>
              <a:t>0</a:t>
            </a:r>
            <a:r>
              <a:rPr lang="en-US" sz="200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F24BFE-A895-6EF3-5EF7-E54580E1F26C}"/>
              </a:ext>
            </a:extLst>
          </p:cNvPr>
          <p:cNvSpPr txBox="1"/>
          <p:nvPr/>
        </p:nvSpPr>
        <p:spPr>
          <a:xfrm>
            <a:off x="533400" y="838200"/>
            <a:ext cx="3429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디자인 </a:t>
            </a:r>
            <a:r>
              <a:rPr lang="en-US" altLang="ko-KR"/>
              <a:t>– </a:t>
            </a:r>
            <a:r>
              <a:rPr lang="ko-KR" altLang="en-US"/>
              <a:t>이민지</a:t>
            </a: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E8F64266-5405-3B95-6363-6F68C86B8F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022" y="1245404"/>
            <a:ext cx="8649907" cy="1867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209412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788485-A4C2-5A8A-F9D3-CF1BF93784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C0A735FD-5332-4F50-D62A-5E09A55D01A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22068" y="52577"/>
            <a:ext cx="6374131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/>
              <a:t>R&amp;D</a:t>
            </a:r>
            <a:r>
              <a:rPr lang="ko-KR" altLang="en-US"/>
              <a:t>전략사업부 개별 작업보고 </a:t>
            </a:r>
            <a:endParaRPr/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8C1B4590-367D-8FB1-827F-467A61FBA55A}"/>
              </a:ext>
            </a:extLst>
          </p:cNvPr>
          <p:cNvSpPr txBox="1"/>
          <p:nvPr/>
        </p:nvSpPr>
        <p:spPr>
          <a:xfrm>
            <a:off x="625246" y="69342"/>
            <a:ext cx="28448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>
                <a:solidFill>
                  <a:srgbClr val="FFFFFF"/>
                </a:solidFill>
                <a:latin typeface="Calibri"/>
                <a:cs typeface="Calibri"/>
              </a:rPr>
              <a:t>0</a:t>
            </a:r>
            <a:r>
              <a:rPr lang="en-US" sz="200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646F8F4-9C14-6EFA-609F-B084CDE41353}"/>
              </a:ext>
            </a:extLst>
          </p:cNvPr>
          <p:cNvSpPr txBox="1"/>
          <p:nvPr/>
        </p:nvSpPr>
        <p:spPr>
          <a:xfrm>
            <a:off x="533400" y="838200"/>
            <a:ext cx="3429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백엔드 </a:t>
            </a:r>
            <a:r>
              <a:rPr lang="en-US" altLang="ko-KR"/>
              <a:t>– </a:t>
            </a:r>
            <a:r>
              <a:rPr lang="ko-KR" altLang="en-US"/>
              <a:t>유지우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BBB9FA2-D5FD-39C8-ADFB-64A8305AD1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9004" y="1213464"/>
            <a:ext cx="8649907" cy="4858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668103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4736FB-5192-18C1-02D9-C26491C42D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F3DCB2EF-76BD-3B0A-4521-72A2C9BB1D7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22068" y="52577"/>
            <a:ext cx="6374131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/>
              <a:t>R&amp;D</a:t>
            </a:r>
            <a:r>
              <a:rPr lang="ko-KR" altLang="en-US"/>
              <a:t>전략사업부 개별 작업보고 </a:t>
            </a:r>
            <a:endParaRPr/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F036AB2A-9DA7-94B3-7649-0988380E763E}"/>
              </a:ext>
            </a:extLst>
          </p:cNvPr>
          <p:cNvSpPr txBox="1"/>
          <p:nvPr/>
        </p:nvSpPr>
        <p:spPr>
          <a:xfrm>
            <a:off x="625246" y="69342"/>
            <a:ext cx="28448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>
                <a:solidFill>
                  <a:srgbClr val="FFFFFF"/>
                </a:solidFill>
                <a:latin typeface="Calibri"/>
                <a:cs typeface="Calibri"/>
              </a:rPr>
              <a:t>0</a:t>
            </a:r>
            <a:r>
              <a:rPr lang="en-US" sz="200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FC84A8-8E99-A0D7-29E9-BDE3A5D50092}"/>
              </a:ext>
            </a:extLst>
          </p:cNvPr>
          <p:cNvSpPr txBox="1"/>
          <p:nvPr/>
        </p:nvSpPr>
        <p:spPr>
          <a:xfrm>
            <a:off x="533400" y="838200"/>
            <a:ext cx="3429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백엔드 </a:t>
            </a:r>
            <a:r>
              <a:rPr lang="en-US" altLang="ko-KR"/>
              <a:t>– </a:t>
            </a:r>
            <a:r>
              <a:rPr lang="ko-KR" altLang="en-US"/>
              <a:t>서다솜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A5743D18-73C5-C41C-F6DF-E73F3E51B4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757" y="1232293"/>
            <a:ext cx="8678486" cy="559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322107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0F7A48-98F8-F09B-C26D-BDCB017B1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9207D4DC-B0B0-D170-3615-D7927DABA57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22068" y="52577"/>
            <a:ext cx="6374131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/>
              <a:t>R&amp;D</a:t>
            </a:r>
            <a:r>
              <a:rPr lang="ko-KR" altLang="en-US"/>
              <a:t>전략사업부 개별 작업보고 </a:t>
            </a:r>
            <a:endParaRPr/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353F5509-0A5F-A86B-5B15-BB07530E4E6F}"/>
              </a:ext>
            </a:extLst>
          </p:cNvPr>
          <p:cNvSpPr txBox="1"/>
          <p:nvPr/>
        </p:nvSpPr>
        <p:spPr>
          <a:xfrm>
            <a:off x="625246" y="69342"/>
            <a:ext cx="28448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>
                <a:solidFill>
                  <a:srgbClr val="FFFFFF"/>
                </a:solidFill>
                <a:latin typeface="Calibri"/>
                <a:cs typeface="Calibri"/>
              </a:rPr>
              <a:t>0</a:t>
            </a:r>
            <a:r>
              <a:rPr lang="en-US" sz="200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8426C0-A93E-DCBB-508E-41E6B6FB94A6}"/>
              </a:ext>
            </a:extLst>
          </p:cNvPr>
          <p:cNvSpPr txBox="1"/>
          <p:nvPr/>
        </p:nvSpPr>
        <p:spPr>
          <a:xfrm>
            <a:off x="533400" y="838200"/>
            <a:ext cx="3429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모바일 </a:t>
            </a:r>
            <a:r>
              <a:rPr lang="en-US" altLang="ko-KR"/>
              <a:t>– </a:t>
            </a:r>
            <a:r>
              <a:rPr lang="ko-KR" altLang="en-US"/>
              <a:t>이윤정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E4D48FD0-AAFC-8598-6162-8AACD460C8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507" y="1207532"/>
            <a:ext cx="8497486" cy="4925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9697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5CE781-8A5D-C173-3BFC-8B75CADB17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D7551DF9-A66E-4446-2E7A-D76AE205D90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22068" y="52577"/>
            <a:ext cx="6374131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/>
              <a:t>R&amp;D</a:t>
            </a:r>
            <a:r>
              <a:rPr lang="ko-KR" altLang="en-US"/>
              <a:t>전략사업부 개별 작업보고 </a:t>
            </a:r>
            <a:endParaRPr/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69ABDC82-FF70-F333-D39E-50EE99E323A1}"/>
              </a:ext>
            </a:extLst>
          </p:cNvPr>
          <p:cNvSpPr txBox="1"/>
          <p:nvPr/>
        </p:nvSpPr>
        <p:spPr>
          <a:xfrm>
            <a:off x="625246" y="69342"/>
            <a:ext cx="28448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>
                <a:solidFill>
                  <a:srgbClr val="FFFFFF"/>
                </a:solidFill>
                <a:latin typeface="Calibri"/>
                <a:cs typeface="Calibri"/>
              </a:rPr>
              <a:t>0</a:t>
            </a:r>
            <a:r>
              <a:rPr lang="en-US" sz="200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9B89352-0CD1-F5E9-5A85-798E992FDCAD}"/>
              </a:ext>
            </a:extLst>
          </p:cNvPr>
          <p:cNvSpPr txBox="1"/>
          <p:nvPr/>
        </p:nvSpPr>
        <p:spPr>
          <a:xfrm>
            <a:off x="533400" y="838200"/>
            <a:ext cx="3429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박소연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B435C9B5-1290-37C4-F9BF-6A60571FB3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2181" y="1182436"/>
            <a:ext cx="8201638" cy="522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863417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F127F2-969D-A7A3-6686-2ADD35B3FF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D91F931B-FE8D-CCCA-34DC-CDE08BFEEFB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22068" y="52577"/>
            <a:ext cx="6374131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/>
              <a:t>R&amp;D</a:t>
            </a:r>
            <a:r>
              <a:rPr lang="ko-KR" altLang="en-US"/>
              <a:t>전략사업부 개별 작업보고 </a:t>
            </a:r>
            <a:endParaRPr/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31B2CD6F-EFF1-1129-3EF8-FC1C3FD93E1E}"/>
              </a:ext>
            </a:extLst>
          </p:cNvPr>
          <p:cNvSpPr txBox="1"/>
          <p:nvPr/>
        </p:nvSpPr>
        <p:spPr>
          <a:xfrm>
            <a:off x="625246" y="69342"/>
            <a:ext cx="28448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>
                <a:solidFill>
                  <a:srgbClr val="FFFFFF"/>
                </a:solidFill>
                <a:latin typeface="Calibri"/>
                <a:cs typeface="Calibri"/>
              </a:rPr>
              <a:t>0</a:t>
            </a:r>
            <a:r>
              <a:rPr lang="en-US" sz="200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BAE623-143E-98BA-0347-9952E9603CEA}"/>
              </a:ext>
            </a:extLst>
          </p:cNvPr>
          <p:cNvSpPr txBox="1"/>
          <p:nvPr/>
        </p:nvSpPr>
        <p:spPr>
          <a:xfrm>
            <a:off x="533400" y="838200"/>
            <a:ext cx="3429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박소연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4EB3AD93-FB89-CC0C-814C-2FDCEEBFDD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266" y="1295400"/>
            <a:ext cx="8592749" cy="1952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418222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01AC15BF-E296-2949-2B11-3E090686D9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6200" y="3048000"/>
            <a:ext cx="1676400" cy="381000"/>
          </a:xfrm>
        </p:spPr>
        <p:txBody>
          <a:bodyPr/>
          <a:lstStyle/>
          <a:p>
            <a:r>
              <a:rPr lang="ko-KR" altLang="en-US" sz="2400"/>
              <a:t>감사합니다</a:t>
            </a:r>
          </a:p>
        </p:txBody>
      </p:sp>
    </p:spTree>
    <p:extLst>
      <p:ext uri="{BB962C8B-B14F-4D97-AF65-F5344CB8AC3E}">
        <p14:creationId xmlns:p14="http://schemas.microsoft.com/office/powerpoint/2010/main" val="20075795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8C67161-FB00-30F4-3B8E-7286B2F81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2069" y="52577"/>
            <a:ext cx="7261860" cy="307777"/>
          </a:xfrm>
        </p:spPr>
        <p:txBody>
          <a:bodyPr/>
          <a:lstStyle/>
          <a:p>
            <a:r>
              <a:rPr lang="ko-KR" altLang="en-US"/>
              <a:t>목차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D9E4CD78-E1A6-8CC5-F461-97C5E4E5F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066800"/>
            <a:ext cx="8249284" cy="2502032"/>
          </a:xfrm>
        </p:spPr>
        <p:txBody>
          <a:bodyPr/>
          <a:lstStyle/>
          <a:p>
            <a:pPr marL="457200" indent="-457200">
              <a:lnSpc>
                <a:spcPct val="150000"/>
              </a:lnSpc>
              <a:buAutoNum type="arabicPeriod"/>
            </a:pPr>
            <a:r>
              <a:rPr lang="ko-KR" altLang="en-US" sz="2800"/>
              <a:t>유지보수관리 플랫폼 </a:t>
            </a:r>
            <a:endParaRPr lang="en-US" altLang="ko-KR" sz="2800"/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altLang="ko-KR" sz="2800"/>
              <a:t>NH</a:t>
            </a:r>
            <a:r>
              <a:rPr lang="ko-KR" altLang="en-US" sz="2800"/>
              <a:t>손보 빅데이터 운영</a:t>
            </a:r>
            <a:endParaRPr lang="en-US" altLang="ko-KR" sz="2800"/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altLang="ko-KR" sz="2800"/>
              <a:t>R&amp;D </a:t>
            </a:r>
            <a:r>
              <a:rPr lang="ko-KR" altLang="en-US" sz="2800"/>
              <a:t>전략사업부 주간회의 요약</a:t>
            </a:r>
            <a:endParaRPr lang="en-US" altLang="ko-KR" sz="2800"/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altLang="ko-KR" sz="2800"/>
              <a:t>R&amp;D </a:t>
            </a:r>
            <a:r>
              <a:rPr lang="ko-KR" altLang="en-US" sz="2800"/>
              <a:t>전략사업부 개별 작업보고</a:t>
            </a:r>
            <a:endParaRPr lang="en-US" altLang="ko-KR" sz="2800"/>
          </a:p>
        </p:txBody>
      </p:sp>
    </p:spTree>
    <p:extLst>
      <p:ext uri="{BB962C8B-B14F-4D97-AF65-F5344CB8AC3E}">
        <p14:creationId xmlns:p14="http://schemas.microsoft.com/office/powerpoint/2010/main" val="10054111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322069" y="52577"/>
            <a:ext cx="288036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ko-KR" altLang="en-US"/>
              <a:t>유지보수관리</a:t>
            </a:r>
            <a:r>
              <a:rPr lang="ko-KR" altLang="en-US" spc="-270"/>
              <a:t> </a:t>
            </a:r>
            <a:r>
              <a:rPr lang="ko-KR" altLang="en-US"/>
              <a:t>플랫폼</a:t>
            </a:r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625246" y="69342"/>
            <a:ext cx="28448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>
                <a:solidFill>
                  <a:srgbClr val="FFFFFF"/>
                </a:solidFill>
                <a:latin typeface="Calibri"/>
                <a:cs typeface="Calibri"/>
              </a:rPr>
              <a:t>0</a:t>
            </a:r>
            <a:r>
              <a:rPr lang="en-US" sz="2000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endParaRPr sz="2000">
              <a:latin typeface="Calibri"/>
              <a:cs typeface="Calibri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53525" y="892293"/>
            <a:ext cx="8926068" cy="368808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541121" y="935482"/>
            <a:ext cx="489585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800" spc="5">
                <a:latin typeface="Calibri"/>
                <a:cs typeface="Calibri"/>
              </a:rPr>
              <a:t>M24365 </a:t>
            </a:r>
            <a:r>
              <a:rPr lang="ko-KR" altLang="en-US" sz="1800" spc="5">
                <a:latin typeface="Calibri"/>
                <a:cs typeface="Calibri"/>
              </a:rPr>
              <a:t>리뉴얼</a:t>
            </a:r>
            <a:r>
              <a:rPr sz="1800" spc="5">
                <a:latin typeface="Calibri"/>
                <a:cs typeface="Calibri"/>
              </a:rPr>
              <a:t> </a:t>
            </a:r>
            <a:r>
              <a:rPr sz="1800">
                <a:latin typeface="맑은 고딕"/>
                <a:cs typeface="맑은 고딕"/>
              </a:rPr>
              <a:t>개발</a:t>
            </a:r>
            <a:r>
              <a:rPr lang="ko-KR" altLang="en-US" sz="1800">
                <a:latin typeface="맑은 고딕"/>
                <a:cs typeface="맑은 고딕"/>
              </a:rPr>
              <a:t>일정</a:t>
            </a:r>
            <a:endParaRPr sz="1800">
              <a:latin typeface="맑은 고딕"/>
              <a:cs typeface="맑은 고딕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5359D5FA-C897-0607-EA97-AB2572FC4C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600200"/>
            <a:ext cx="8935697" cy="4115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3880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322068" y="52577"/>
            <a:ext cx="2945131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/>
              <a:t>NH</a:t>
            </a:r>
            <a:r>
              <a:rPr lang="ko-KR" altLang="en-US"/>
              <a:t>손보 빅데이터 운영</a:t>
            </a:r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625246" y="69342"/>
            <a:ext cx="28448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>
                <a:solidFill>
                  <a:srgbClr val="FFFFFF"/>
                </a:solidFill>
                <a:latin typeface="Calibri"/>
                <a:cs typeface="Calibri"/>
              </a:rPr>
              <a:t>02</a:t>
            </a:r>
            <a:endParaRPr sz="2000">
              <a:latin typeface="Calibri"/>
              <a:cs typeface="Calibri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61772" y="914400"/>
            <a:ext cx="8926068" cy="368808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541121" y="935482"/>
            <a:ext cx="5859679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ko-KR" altLang="en-US" spc="-75">
                <a:latin typeface="Calibri"/>
                <a:cs typeface="Calibri"/>
              </a:rPr>
              <a:t>빅데이터기반 </a:t>
            </a:r>
            <a:r>
              <a:rPr lang="en-US" altLang="ko-KR" spc="-75">
                <a:latin typeface="Calibri"/>
                <a:cs typeface="Calibri"/>
              </a:rPr>
              <a:t>AI </a:t>
            </a:r>
            <a:r>
              <a:rPr lang="ko-KR" altLang="en-US" spc="-75">
                <a:latin typeface="Calibri"/>
                <a:cs typeface="Calibri"/>
              </a:rPr>
              <a:t>자동설계 운영 및 개발</a:t>
            </a:r>
            <a:endParaRPr sz="1800">
              <a:latin typeface="맑은 고딕"/>
              <a:cs typeface="맑은 고딕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6309F86C-1BA0-5C9B-1D5A-E874E8670C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800" y="1371600"/>
            <a:ext cx="5906324" cy="4915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786044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A83A4C-DC64-DF33-5DCB-AD02DBE39E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CBE12594-308F-9315-AE19-8824E202933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22068" y="52577"/>
            <a:ext cx="3326132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/>
              <a:t>R&amp;D </a:t>
            </a:r>
            <a:r>
              <a:rPr lang="ko-KR" altLang="en-US"/>
              <a:t>전략사업부 주간보고</a:t>
            </a:r>
            <a:endParaRPr/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8154AA25-9009-053C-74EC-82B8AD58F4EC}"/>
              </a:ext>
            </a:extLst>
          </p:cNvPr>
          <p:cNvSpPr txBox="1"/>
          <p:nvPr/>
        </p:nvSpPr>
        <p:spPr>
          <a:xfrm>
            <a:off x="625246" y="69342"/>
            <a:ext cx="28448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>
                <a:solidFill>
                  <a:srgbClr val="FFFFFF"/>
                </a:solidFill>
                <a:latin typeface="Calibri"/>
                <a:cs typeface="Calibri"/>
              </a:rPr>
              <a:t>0</a:t>
            </a:r>
            <a:r>
              <a:rPr lang="en-US" sz="200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2000">
              <a:latin typeface="Calibri"/>
              <a:cs typeface="Calibri"/>
            </a:endParaRPr>
          </a:p>
        </p:txBody>
      </p:sp>
      <p:pic>
        <p:nvPicPr>
          <p:cNvPr id="4" name="object 4">
            <a:extLst>
              <a:ext uri="{FF2B5EF4-FFF2-40B4-BE49-F238E27FC236}">
                <a16:creationId xmlns:a16="http://schemas.microsoft.com/office/drawing/2014/main" id="{73CB951E-175A-0C09-7144-C025B6C35BE3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81000" y="778077"/>
            <a:ext cx="8926068" cy="368808"/>
          </a:xfrm>
          <a:prstGeom prst="rect">
            <a:avLst/>
          </a:prstGeom>
        </p:spPr>
      </p:pic>
      <p:sp>
        <p:nvSpPr>
          <p:cNvPr id="5" name="object 5">
            <a:extLst>
              <a:ext uri="{FF2B5EF4-FFF2-40B4-BE49-F238E27FC236}">
                <a16:creationId xmlns:a16="http://schemas.microsoft.com/office/drawing/2014/main" id="{67CDFB92-1991-D43C-C7CD-FF7E57E4996B}"/>
              </a:ext>
            </a:extLst>
          </p:cNvPr>
          <p:cNvSpPr txBox="1"/>
          <p:nvPr/>
        </p:nvSpPr>
        <p:spPr>
          <a:xfrm>
            <a:off x="457200" y="805076"/>
            <a:ext cx="5859679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ko-KR" altLang="en-US" sz="1800" spc="-75">
                <a:latin typeface="Calibri"/>
                <a:cs typeface="Calibri"/>
              </a:rPr>
              <a:t>주간회의 </a:t>
            </a:r>
            <a:endParaRPr sz="1800">
              <a:latin typeface="맑은 고딕"/>
              <a:cs typeface="맑은 고딕"/>
            </a:endParaRP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CF421294-F67E-6F35-E71F-832BD54FB5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535" y="1371601"/>
            <a:ext cx="4918262" cy="4267200"/>
          </a:xfrm>
          <a:prstGeom prst="rect">
            <a:avLst/>
          </a:prstGeom>
        </p:spPr>
      </p:pic>
      <p:pic>
        <p:nvPicPr>
          <p:cNvPr id="9" name="그림 8">
            <a:extLst>
              <a:ext uri="{FF2B5EF4-FFF2-40B4-BE49-F238E27FC236}">
                <a16:creationId xmlns:a16="http://schemas.microsoft.com/office/drawing/2014/main" id="{05910D75-7B48-1B6A-670D-3E2CE939EA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9200" y="2286000"/>
            <a:ext cx="4435353" cy="3253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79997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322068" y="52577"/>
            <a:ext cx="6374131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/>
              <a:t>R&amp;D</a:t>
            </a:r>
            <a:r>
              <a:rPr lang="ko-KR" altLang="en-US"/>
              <a:t>전략사업부 개별 작업보고 </a:t>
            </a:r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625246" y="69342"/>
            <a:ext cx="28448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>
                <a:solidFill>
                  <a:srgbClr val="FFFFFF"/>
                </a:solidFill>
                <a:latin typeface="Calibri"/>
                <a:cs typeface="Calibri"/>
              </a:rPr>
              <a:t>0</a:t>
            </a:r>
            <a:r>
              <a:rPr lang="en-US" sz="200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81A4814-143B-852D-8685-9683BAF7FD25}"/>
              </a:ext>
            </a:extLst>
          </p:cNvPr>
          <p:cNvSpPr txBox="1"/>
          <p:nvPr/>
        </p:nvSpPr>
        <p:spPr>
          <a:xfrm>
            <a:off x="533400" y="838200"/>
            <a:ext cx="2819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개발총괄 </a:t>
            </a:r>
            <a:r>
              <a:rPr lang="en-US" altLang="ko-KR"/>
              <a:t>- </a:t>
            </a:r>
            <a:r>
              <a:rPr lang="ko-KR" altLang="en-US"/>
              <a:t>노현수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4190274F-6303-870F-6D94-F7C4B10ADB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467" y="1357023"/>
            <a:ext cx="8707065" cy="4143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664267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D0F5DE-CFFD-296E-DE7C-2D90B78A3B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1FB2BFE4-25E5-9507-F481-855C68E8A8D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22068" y="52577"/>
            <a:ext cx="6374131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/>
              <a:t>R&amp;D</a:t>
            </a:r>
            <a:r>
              <a:rPr lang="ko-KR" altLang="en-US"/>
              <a:t>전략사업부 개별 작업보고 </a:t>
            </a:r>
            <a:endParaRPr/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53CACCDB-8080-63F1-081C-51B0B5DA5AC8}"/>
              </a:ext>
            </a:extLst>
          </p:cNvPr>
          <p:cNvSpPr txBox="1"/>
          <p:nvPr/>
        </p:nvSpPr>
        <p:spPr>
          <a:xfrm>
            <a:off x="625246" y="69342"/>
            <a:ext cx="28448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>
                <a:solidFill>
                  <a:srgbClr val="FFFFFF"/>
                </a:solidFill>
                <a:latin typeface="Calibri"/>
                <a:cs typeface="Calibri"/>
              </a:rPr>
              <a:t>0</a:t>
            </a:r>
            <a:r>
              <a:rPr lang="en-US" sz="200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562A6F-B914-48B9-28AD-7C766EDD9B38}"/>
              </a:ext>
            </a:extLst>
          </p:cNvPr>
          <p:cNvSpPr txBox="1"/>
          <p:nvPr/>
        </p:nvSpPr>
        <p:spPr>
          <a:xfrm>
            <a:off x="533400" y="838200"/>
            <a:ext cx="2819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프론트엔드 </a:t>
            </a:r>
            <a:r>
              <a:rPr lang="en-US" altLang="ko-KR"/>
              <a:t>- </a:t>
            </a:r>
            <a:r>
              <a:rPr lang="ko-KR" altLang="en-US"/>
              <a:t>이유섭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2FA47FC8-D291-A6A9-006E-CA27C6ACDC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524000"/>
            <a:ext cx="7144375" cy="4674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202096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A73363-3706-1FDD-9A99-415C4B98F5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921025EE-847E-9EE8-9712-6B1E37F6676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22068" y="52577"/>
            <a:ext cx="6374131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/>
              <a:t>R&amp;D</a:t>
            </a:r>
            <a:r>
              <a:rPr lang="ko-KR" altLang="en-US"/>
              <a:t>전략사업부 개별 작업보고 </a:t>
            </a:r>
            <a:endParaRPr/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318EBB3E-4FC6-A6D5-46B8-DF2C6DC5AA60}"/>
              </a:ext>
            </a:extLst>
          </p:cNvPr>
          <p:cNvSpPr txBox="1"/>
          <p:nvPr/>
        </p:nvSpPr>
        <p:spPr>
          <a:xfrm>
            <a:off x="625246" y="69342"/>
            <a:ext cx="28448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>
                <a:solidFill>
                  <a:srgbClr val="FFFFFF"/>
                </a:solidFill>
                <a:latin typeface="Calibri"/>
                <a:cs typeface="Calibri"/>
              </a:rPr>
              <a:t>0</a:t>
            </a:r>
            <a:r>
              <a:rPr lang="en-US" sz="200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BF4D6C-F9B9-6BBF-65D4-96AD6E1DA156}"/>
              </a:ext>
            </a:extLst>
          </p:cNvPr>
          <p:cNvSpPr txBox="1"/>
          <p:nvPr/>
        </p:nvSpPr>
        <p:spPr>
          <a:xfrm>
            <a:off x="533400" y="838200"/>
            <a:ext cx="2819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프론트엔드 </a:t>
            </a:r>
            <a:r>
              <a:rPr lang="en-US" altLang="ko-KR"/>
              <a:t>- </a:t>
            </a:r>
            <a:r>
              <a:rPr lang="ko-KR" altLang="en-US"/>
              <a:t>이유섭</a:t>
            </a: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79781A31-81E7-8762-5147-6BB5215198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371600"/>
            <a:ext cx="8849960" cy="1124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96484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5A5DC5-E830-DEE2-E03C-C5CFC71004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58BB3021-D629-7F6A-98E3-178F1DC3B6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22068" y="52577"/>
            <a:ext cx="6374131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/>
              <a:t>R&amp;D</a:t>
            </a:r>
            <a:r>
              <a:rPr lang="ko-KR" altLang="en-US"/>
              <a:t>전략사업부 개별 작업보고 </a:t>
            </a:r>
            <a:endParaRPr/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FF170588-38AF-28C0-13FA-BBE851641642}"/>
              </a:ext>
            </a:extLst>
          </p:cNvPr>
          <p:cNvSpPr txBox="1"/>
          <p:nvPr/>
        </p:nvSpPr>
        <p:spPr>
          <a:xfrm>
            <a:off x="625246" y="69342"/>
            <a:ext cx="28448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>
                <a:solidFill>
                  <a:srgbClr val="FFFFFF"/>
                </a:solidFill>
                <a:latin typeface="Calibri"/>
                <a:cs typeface="Calibri"/>
              </a:rPr>
              <a:t>0</a:t>
            </a:r>
            <a:r>
              <a:rPr lang="en-US" sz="200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E2C526D-5BEA-37E8-7382-F83E364B24DF}"/>
              </a:ext>
            </a:extLst>
          </p:cNvPr>
          <p:cNvSpPr txBox="1"/>
          <p:nvPr/>
        </p:nvSpPr>
        <p:spPr>
          <a:xfrm>
            <a:off x="533400" y="838200"/>
            <a:ext cx="3429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/>
              <a:t>디자인 </a:t>
            </a:r>
            <a:r>
              <a:rPr lang="en-US" altLang="ko-KR"/>
              <a:t>– </a:t>
            </a:r>
            <a:r>
              <a:rPr lang="ko-KR" altLang="en-US"/>
              <a:t>이민지</a:t>
            </a:r>
          </a:p>
        </p:txBody>
      </p:sp>
      <p:pic>
        <p:nvPicPr>
          <p:cNvPr id="11" name="그림 10">
            <a:extLst>
              <a:ext uri="{FF2B5EF4-FFF2-40B4-BE49-F238E27FC236}">
                <a16:creationId xmlns:a16="http://schemas.microsoft.com/office/drawing/2014/main" id="{D2CB8C0C-62AD-2FE7-7DCC-FB7B67DB64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468" y="1207532"/>
            <a:ext cx="8649907" cy="5420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61245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Axa">
  <a:themeElements>
    <a:clrScheme name="AXA Charte PPT">
      <a:dk1>
        <a:sysClr val="windowText" lastClr="000000"/>
      </a:dk1>
      <a:lt1>
        <a:sysClr val="window" lastClr="FFFFFF"/>
      </a:lt1>
      <a:dk2>
        <a:srgbClr val="00008F"/>
      </a:dk2>
      <a:lt2>
        <a:srgbClr val="FCD385"/>
      </a:lt2>
      <a:accent1>
        <a:srgbClr val="027180"/>
      </a:accent1>
      <a:accent2>
        <a:srgbClr val="E196AA"/>
      </a:accent2>
      <a:accent3>
        <a:srgbClr val="00AEC6"/>
      </a:accent3>
      <a:accent4>
        <a:srgbClr val="914146"/>
      </a:accent4>
      <a:accent5>
        <a:srgbClr val="343C3D"/>
      </a:accent5>
      <a:accent6>
        <a:srgbClr val="B5D0EE"/>
      </a:accent6>
      <a:hlink>
        <a:srgbClr val="00008F"/>
      </a:hlink>
      <a:folHlink>
        <a:srgbClr val="BFBFBF"/>
      </a:folHlink>
    </a:clrScheme>
    <a:fontScheme name="Font">
      <a:majorFont>
        <a:latin typeface="Source Sans Pro"/>
        <a:ea typeface="맑은 고딕"/>
        <a:cs typeface=""/>
      </a:majorFont>
      <a:minorFont>
        <a:latin typeface="Source Sans Pro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smtClean="0">
            <a:latin typeface="Source Sans Pro" panose="020B0503030403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none" lIns="0" tIns="0" rIns="0" bIns="0" rtlCol="0" anchor="b">
        <a:spAutoFit/>
      </a:bodyPr>
      <a:lstStyle>
        <a:defPPr eaLnBrk="1" hangingPunct="1">
          <a:defRPr sz="1600" dirty="0" err="1" smtClean="0">
            <a:solidFill>
              <a:srgbClr val="404040"/>
            </a:solidFill>
            <a:latin typeface="+mj-lt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00</TotalTime>
  <Words>182</Words>
  <Application>Microsoft Office PowerPoint</Application>
  <PresentationFormat>A4 용지(210x297mm)</PresentationFormat>
  <Paragraphs>51</Paragraphs>
  <Slides>17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7</vt:i4>
      </vt:variant>
    </vt:vector>
  </HeadingPairs>
  <TitlesOfParts>
    <vt:vector size="24" baseType="lpstr">
      <vt:lpstr>맑은 고딕</vt:lpstr>
      <vt:lpstr>Arial</vt:lpstr>
      <vt:lpstr>Calibri</vt:lpstr>
      <vt:lpstr>Source Sans Pro</vt:lpstr>
      <vt:lpstr>Office Theme</vt:lpstr>
      <vt:lpstr>2_Axa</vt:lpstr>
      <vt:lpstr>think-cell Slide</vt:lpstr>
      <vt:lpstr>PowerPoint 프레젠테이션</vt:lpstr>
      <vt:lpstr>목차</vt:lpstr>
      <vt:lpstr>유지보수관리 플랫폼</vt:lpstr>
      <vt:lpstr>NH손보 빅데이터 운영</vt:lpstr>
      <vt:lpstr>R&amp;D 전략사업부 주간보고</vt:lpstr>
      <vt:lpstr>R&amp;D전략사업부 개별 작업보고 </vt:lpstr>
      <vt:lpstr>R&amp;D전략사업부 개별 작업보고 </vt:lpstr>
      <vt:lpstr>R&amp;D전략사업부 개별 작업보고 </vt:lpstr>
      <vt:lpstr>R&amp;D전략사업부 개별 작업보고 </vt:lpstr>
      <vt:lpstr>R&amp;D전략사업부 개별 작업보고 </vt:lpstr>
      <vt:lpstr>R&amp;D전략사업부 개별 작업보고 </vt:lpstr>
      <vt:lpstr>R&amp;D전략사업부 개별 작업보고 </vt:lpstr>
      <vt:lpstr>R&amp;D전략사업부 개별 작업보고 </vt:lpstr>
      <vt:lpstr>R&amp;D전략사업부 개별 작업보고 </vt:lpstr>
      <vt:lpstr>R&amp;D전략사업부 개별 작업보고 </vt:lpstr>
      <vt:lpstr>R&amp;D전략사업부 개별 작업보고 </vt:lpstr>
      <vt:lpstr>PowerPoint 프레젠테이션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정 재호</dc:creator>
  <cp:lastModifiedBy>현수 노</cp:lastModifiedBy>
  <cp:revision>119</cp:revision>
  <dcterms:created xsi:type="dcterms:W3CDTF">2024-01-21T06:02:00Z</dcterms:created>
  <dcterms:modified xsi:type="dcterms:W3CDTF">2025-01-12T09:49:40Z</dcterms:modified>
  <cp:version/>
</cp:coreProperties>
</file>